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40"/>
  </p:notesMasterIdLst>
  <p:handoutMasterIdLst>
    <p:handoutMasterId r:id="rId41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55" r:id="rId13"/>
    <p:sldId id="457" r:id="rId14"/>
    <p:sldId id="468" r:id="rId15"/>
    <p:sldId id="467" r:id="rId16"/>
    <p:sldId id="458" r:id="rId17"/>
    <p:sldId id="459" r:id="rId18"/>
    <p:sldId id="460" r:id="rId19"/>
    <p:sldId id="461" r:id="rId20"/>
    <p:sldId id="469" r:id="rId21"/>
    <p:sldId id="462" r:id="rId22"/>
    <p:sldId id="463" r:id="rId23"/>
    <p:sldId id="464" r:id="rId24"/>
    <p:sldId id="465" r:id="rId25"/>
    <p:sldId id="470" r:id="rId26"/>
    <p:sldId id="471" r:id="rId27"/>
    <p:sldId id="472" r:id="rId28"/>
    <p:sldId id="466" r:id="rId29"/>
    <p:sldId id="436" r:id="rId30"/>
    <p:sldId id="473" r:id="rId31"/>
    <p:sldId id="474" r:id="rId32"/>
    <p:sldId id="479" r:id="rId33"/>
    <p:sldId id="475" r:id="rId34"/>
    <p:sldId id="445" r:id="rId35"/>
    <p:sldId id="446" r:id="rId36"/>
    <p:sldId id="447" r:id="rId37"/>
    <p:sldId id="429" r:id="rId38"/>
    <p:sldId id="454" r:id="rId39"/>
  </p:sldIdLst>
  <p:sldSz cx="12192000" cy="6858000"/>
  <p:notesSz cx="6858000" cy="9144000"/>
  <p:custDataLst>
    <p:tags r:id="rId4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123777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3988" y="147765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47732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47732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132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 err="1"/>
            <a:t>Biasumgang</a:t>
          </a:r>
          <a:endParaRPr lang="de-DE" sz="2100" kern="1200" dirty="0"/>
        </a:p>
      </dsp:txBody>
      <dsp:txXfrm>
        <a:off x="23988" y="1156210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615234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615234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62220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3988" y="2646196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95599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95599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9672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3988" y="3920716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91739"/>
          <a:ext cx="10896609" cy="26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4391739"/>
        <a:ext cx="10896609" cy="2691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02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02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2. Februar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163" y="2704006"/>
            <a:ext cx="11153677" cy="1775715"/>
          </a:xfrm>
        </p:spPr>
        <p:txBody>
          <a:bodyPr/>
          <a:lstStyle/>
          <a:p>
            <a:r>
              <a:rPr lang="de-DE" dirty="0"/>
              <a:t>Abschlusspräsentation Gruppe 4</a:t>
            </a:r>
            <a:br>
              <a:rPr lang="de-DE" dirty="0"/>
            </a:br>
            <a:r>
              <a:rPr lang="de-DE" dirty="0"/>
              <a:t>Thema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374241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846F53-8847-AA0D-8DC3-5D43EB33D6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439" y="2626048"/>
            <a:ext cx="8321121" cy="234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89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s Input werden zwei Objekte übergeben, ein Datensatz und ein </a:t>
            </a:r>
            <a:r>
              <a:rPr lang="de-DE" dirty="0" err="1"/>
              <a:t>Kontex</a:t>
            </a:r>
            <a:r>
              <a:rPr lang="de-DE" dirty="0"/>
              <a:t>-Obje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e In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A570AEB-AF57-4409-BBB6-4FA8F746D20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455"/>
            <a:ext cx="8998140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28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cht jeder Datensatz ist als Input für das Artefakt geeig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schränkungen auf den Datensatz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ndvoraussetz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8" y="2340456"/>
            <a:ext cx="2843870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Tabellarischer Datensatz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V-Da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26ECDF2-79BE-2FCF-67AC-0B5B5AEFBBF0}"/>
              </a:ext>
            </a:extLst>
          </p:cNvPr>
          <p:cNvSpPr txBox="1"/>
          <p:nvPr/>
        </p:nvSpPr>
        <p:spPr>
          <a:xfrm>
            <a:off x="515937" y="3200909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chränk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/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in Entscheidungsattribut</a:t>
                </a: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mit exakt zwei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z.B.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𝐴𝑛𝑔𝑒𝑛𝑜𝑚𝑚𝑒𝑛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{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𝐽𝑎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𝑁𝑒𝑖𝑛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Nur kategorische und numerische Attribute erlaub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blipFill>
                <a:blip r:embed="rId2"/>
                <a:stretch>
                  <a:fillRect l="-1933" t="-4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6B30AB2-C09A-B6BB-1B49-B5FEC5F94B46}"/>
              </a:ext>
            </a:extLst>
          </p:cNvPr>
          <p:cNvGrpSpPr/>
          <p:nvPr/>
        </p:nvGrpSpPr>
        <p:grpSpPr>
          <a:xfrm>
            <a:off x="9660447" y="2577769"/>
            <a:ext cx="2254863" cy="2144985"/>
            <a:chOff x="456084" y="1484294"/>
            <a:chExt cx="1433042" cy="136321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688213B-3A05-5D89-F2C3-6EA0DEE8D0E7}"/>
                </a:ext>
              </a:extLst>
            </p:cNvPr>
            <p:cNvSpPr/>
            <p:nvPr/>
          </p:nvSpPr>
          <p:spPr>
            <a:xfrm>
              <a:off x="477812" y="1484294"/>
              <a:ext cx="1411314" cy="1363211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42D1AB1E-1E4C-46CA-23B7-C3D0C1A0AD16}"/>
                </a:ext>
              </a:extLst>
            </p:cNvPr>
            <p:cNvSpPr txBox="1"/>
            <p:nvPr/>
          </p:nvSpPr>
          <p:spPr>
            <a:xfrm>
              <a:off x="456084" y="1511236"/>
              <a:ext cx="1433042" cy="371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/>
                <a:t>Datensatz</a:t>
              </a:r>
              <a:endParaRPr lang="de-DE" dirty="0"/>
            </a:p>
          </p:txBody>
        </p:sp>
        <p:pic>
          <p:nvPicPr>
            <p:cNvPr id="25" name="Grafik 24" descr="Dokument mit einfarbiger Füllung">
              <a:extLst>
                <a:ext uri="{FF2B5EF4-FFF2-40B4-BE49-F238E27FC236}">
                  <a16:creationId xmlns:a16="http://schemas.microsoft.com/office/drawing/2014/main" id="{21EE0D4A-4AF9-F822-DCEB-D9ABF0BAC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338" y="189141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8156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en Datensatz bereitgestellt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s Kontext Ob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7" y="2340456"/>
            <a:ext cx="9419329" cy="30321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ttribu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yp-Zuordn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Typen: Nummerisc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, kategorisch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Wert-Abbildung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Nicht-numerische Werte werden Zahlen zugeordnet (z.B. w = 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Relevante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Rausfiltern von irrelevanten Attributen (z.B. ID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orherzusagendes Attribu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er Name des Attributs, das einen Entscheidungskontext h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496A334-B9BC-F96E-6CCD-AF58F09097C5}"/>
              </a:ext>
            </a:extLst>
          </p:cNvPr>
          <p:cNvSpPr/>
          <p:nvPr/>
        </p:nvSpPr>
        <p:spPr>
          <a:xfrm>
            <a:off x="8918490" y="2349011"/>
            <a:ext cx="2997722" cy="260250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51FF1AB-6B50-165B-8E33-B8E901721CD2}"/>
              </a:ext>
            </a:extLst>
          </p:cNvPr>
          <p:cNvSpPr txBox="1"/>
          <p:nvPr/>
        </p:nvSpPr>
        <p:spPr>
          <a:xfrm>
            <a:off x="9551596" y="2392186"/>
            <a:ext cx="17315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Kontext</a:t>
            </a:r>
            <a:endParaRPr lang="de-DE" sz="1200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E230A0-5F75-CB5A-A6B4-3A67131007A2}"/>
              </a:ext>
            </a:extLst>
          </p:cNvPr>
          <p:cNvCxnSpPr>
            <a:cxnSpLocks/>
          </p:cNvCxnSpPr>
          <p:nvPr/>
        </p:nvCxnSpPr>
        <p:spPr>
          <a:xfrm>
            <a:off x="8918490" y="2976961"/>
            <a:ext cx="2997722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6D1E4EA-AE39-D4B2-EE72-B61A6480EBBE}"/>
              </a:ext>
            </a:extLst>
          </p:cNvPr>
          <p:cNvCxnSpPr>
            <a:cxnSpLocks/>
          </p:cNvCxnSpPr>
          <p:nvPr/>
        </p:nvCxnSpPr>
        <p:spPr>
          <a:xfrm>
            <a:off x="8917588" y="4379321"/>
            <a:ext cx="2998624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DB3CE7D-2BD2-9DD9-F92C-61F00B402FDE}"/>
              </a:ext>
            </a:extLst>
          </p:cNvPr>
          <p:cNvSpPr txBox="1"/>
          <p:nvPr/>
        </p:nvSpPr>
        <p:spPr>
          <a:xfrm>
            <a:off x="8917588" y="3020136"/>
            <a:ext cx="3056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AttributTypZuordnung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WertAbbildungen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RelevanteAttribute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VorherzusagendesAttribut</a:t>
            </a:r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2CAD9BC-EA81-0077-3EB1-274544113AA4}"/>
              </a:ext>
            </a:extLst>
          </p:cNvPr>
          <p:cNvSpPr txBox="1"/>
          <p:nvPr/>
        </p:nvSpPr>
        <p:spPr>
          <a:xfrm>
            <a:off x="8917588" y="4419938"/>
            <a:ext cx="299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BildeWerteAb</a:t>
            </a:r>
            <a:r>
              <a:rPr lang="de-DE" dirty="0"/>
              <a:t>()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746195-9123-1AF8-4465-4C9373C8DD5C}"/>
              </a:ext>
            </a:extLst>
          </p:cNvPr>
          <p:cNvSpPr txBox="1"/>
          <p:nvPr/>
        </p:nvSpPr>
        <p:spPr>
          <a:xfrm>
            <a:off x="515936" y="5145029"/>
            <a:ext cx="1296085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hod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B262269-644D-C419-788E-65072646D3C8}"/>
              </a:ext>
            </a:extLst>
          </p:cNvPr>
          <p:cNvSpPr txBox="1"/>
          <p:nvPr/>
        </p:nvSpPr>
        <p:spPr>
          <a:xfrm>
            <a:off x="671117" y="5573319"/>
            <a:ext cx="524871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ldeWerteA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()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Setzt die Wert-Abbildungen um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450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Input-Datensatz wird in einen Test- und Trainingsdatensatz getei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A42EC68-4AA0-1813-EE4A-1CADA38940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8141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20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dem Test- und Trainingsdatensatz wird ein Entscheidungsbaum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EA0946F-7D36-3444-1E1F-3F5A10341B6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9119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177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Modell des </a:t>
            </a:r>
            <a:r>
              <a:rPr lang="de-DE" dirty="0" err="1"/>
              <a:t>Machine</a:t>
            </a:r>
            <a:r>
              <a:rPr lang="de-DE" dirty="0"/>
              <a:t> Learning Algorithmus wurde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820BD8F-ECBC-5B12-F04A-DD6DD487722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9" y="1620943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956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abellen-</a:t>
            </a:r>
            <a:r>
              <a:rPr lang="de-DE" dirty="0" err="1"/>
              <a:t>Builder</a:t>
            </a:r>
            <a:r>
              <a:rPr lang="de-DE" dirty="0"/>
              <a:t> erhält beide Input-Objekte als eigenen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7450F5B-C2A3-5CE1-E17B-3917E0E0EC2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1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2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8ADB9F28-BD6C-DF49-68BC-2B25B0CC9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FAD6D3D-EBC3-CC31-46CC-BEA958EC5F13}"/>
              </a:ext>
            </a:extLst>
          </p:cNvPr>
          <p:cNvCxnSpPr>
            <a:cxnSpLocks/>
          </p:cNvCxnSpPr>
          <p:nvPr/>
        </p:nvCxnSpPr>
        <p:spPr>
          <a:xfrm>
            <a:off x="5049225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76E13BE-A716-9FD9-55D2-0DC8A51359B6}"/>
              </a:ext>
            </a:extLst>
          </p:cNvPr>
          <p:cNvCxnSpPr>
            <a:cxnSpLocks/>
          </p:cNvCxnSpPr>
          <p:nvPr/>
        </p:nvCxnSpPr>
        <p:spPr>
          <a:xfrm>
            <a:off x="6868532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 dem Input-Datensatz wird ein neuer Datensatz mittels des Kreuzproduktes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ss des Tabellen-</a:t>
            </a:r>
            <a:r>
              <a:rPr lang="de-DE" dirty="0" err="1"/>
              <a:t>Builders</a:t>
            </a:r>
            <a:endParaRPr lang="de-DE" dirty="0"/>
          </a:p>
        </p:txBody>
      </p:sp>
      <p:graphicFrame>
        <p:nvGraphicFramePr>
          <p:cNvPr id="21" name="Tabelle 5">
            <a:extLst>
              <a:ext uri="{FF2B5EF4-FFF2-40B4-BE49-F238E27FC236}">
                <a16:creationId xmlns:a16="http://schemas.microsoft.com/office/drawing/2014/main" id="{FF2D73EF-B8BD-3D54-CA44-BE623AA83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215780"/>
              </p:ext>
            </p:extLst>
          </p:nvPr>
        </p:nvGraphicFramePr>
        <p:xfrm>
          <a:off x="4717255" y="2056228"/>
          <a:ext cx="2958826" cy="1483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357040"/>
                  </a:ext>
                </a:extLst>
              </a:tr>
            </a:tbl>
          </a:graphicData>
        </a:graphic>
      </p:graphicFrame>
      <p:graphicFrame>
        <p:nvGraphicFramePr>
          <p:cNvPr id="22" name="Tabelle 5">
            <a:extLst>
              <a:ext uri="{FF2B5EF4-FFF2-40B4-BE49-F238E27FC236}">
                <a16:creationId xmlns:a16="http://schemas.microsoft.com/office/drawing/2014/main" id="{2F8A0F62-35D0-1C21-EF36-CAA1D0C4B6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947480"/>
              </p:ext>
            </p:extLst>
          </p:nvPr>
        </p:nvGraphicFramePr>
        <p:xfrm>
          <a:off x="8925994" y="2056228"/>
          <a:ext cx="2958826" cy="333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1168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691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867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450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13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173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</a:tbl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2D668F1C-089C-EB29-C036-FD670052410E}"/>
              </a:ext>
            </a:extLst>
          </p:cNvPr>
          <p:cNvSpPr txBox="1"/>
          <p:nvPr/>
        </p:nvSpPr>
        <p:spPr>
          <a:xfrm>
            <a:off x="4616144" y="3964726"/>
            <a:ext cx="8190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(</a:t>
            </a:r>
            <a:r>
              <a:rPr lang="de-DE" sz="2000" dirty="0" err="1"/>
              <a:t>m,w</a:t>
            </a:r>
            <a:r>
              <a:rPr lang="de-DE" sz="2000" dirty="0"/>
              <a:t>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7D06B29-2464-2916-D63C-93C66DF29F54}"/>
              </a:ext>
            </a:extLst>
          </p:cNvPr>
          <p:cNvSpPr txBox="1"/>
          <p:nvPr/>
        </p:nvSpPr>
        <p:spPr>
          <a:xfrm>
            <a:off x="6085647" y="3980115"/>
            <a:ext cx="1590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(</a:t>
            </a:r>
            <a:r>
              <a:rPr lang="de-DE" sz="1800" b="1" dirty="0"/>
              <a:t>10</a:t>
            </a:r>
            <a:r>
              <a:rPr lang="de-DE" sz="1800" dirty="0"/>
              <a:t>,11,12,</a:t>
            </a:r>
            <a:r>
              <a:rPr lang="de-DE" sz="1800" b="1" dirty="0"/>
              <a:t>13</a:t>
            </a:r>
            <a:r>
              <a:rPr lang="de-DE" sz="1800" dirty="0"/>
              <a:t>)</a:t>
            </a: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6B40B12F-BBEF-467F-47C7-8CFE798462C9}"/>
              </a:ext>
            </a:extLst>
          </p:cNvPr>
          <p:cNvCxnSpPr>
            <a:cxnSpLocks/>
          </p:cNvCxnSpPr>
          <p:nvPr/>
        </p:nvCxnSpPr>
        <p:spPr>
          <a:xfrm>
            <a:off x="7745082" y="4690606"/>
            <a:ext cx="964736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B88873E-FF15-7E5D-E349-1A97D71A49BF}"/>
              </a:ext>
            </a:extLst>
          </p:cNvPr>
          <p:cNvCxnSpPr>
            <a:cxnSpLocks/>
          </p:cNvCxnSpPr>
          <p:nvPr/>
        </p:nvCxnSpPr>
        <p:spPr>
          <a:xfrm>
            <a:off x="4997663" y="4690606"/>
            <a:ext cx="2794580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A3F7CB8-6668-AFD3-4DBD-91C8E64A2D26}"/>
              </a:ext>
            </a:extLst>
          </p:cNvPr>
          <p:cNvCxnSpPr>
            <a:cxnSpLocks/>
          </p:cNvCxnSpPr>
          <p:nvPr/>
        </p:nvCxnSpPr>
        <p:spPr>
          <a:xfrm flipV="1">
            <a:off x="6859674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77069F4-90CC-5996-A162-D6D1BB09C347}"/>
              </a:ext>
            </a:extLst>
          </p:cNvPr>
          <p:cNvCxnSpPr>
            <a:cxnSpLocks/>
          </p:cNvCxnSpPr>
          <p:nvPr/>
        </p:nvCxnSpPr>
        <p:spPr>
          <a:xfrm flipV="1">
            <a:off x="5025682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1274CD32-32BF-29FD-0877-3926786E4171}"/>
              </a:ext>
            </a:extLst>
          </p:cNvPr>
          <p:cNvSpPr txBox="1"/>
          <p:nvPr/>
        </p:nvSpPr>
        <p:spPr>
          <a:xfrm>
            <a:off x="5435220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 Datensatz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B881F06-4933-956D-C065-1F26A7F738E0}"/>
              </a:ext>
            </a:extLst>
          </p:cNvPr>
          <p:cNvSpPr txBox="1"/>
          <p:nvPr/>
        </p:nvSpPr>
        <p:spPr>
          <a:xfrm>
            <a:off x="9595869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er Datensatz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49E706F-F160-1211-CF0A-570BCD6B3299}"/>
              </a:ext>
            </a:extLst>
          </p:cNvPr>
          <p:cNvSpPr txBox="1"/>
          <p:nvPr/>
        </p:nvSpPr>
        <p:spPr>
          <a:xfrm>
            <a:off x="509817" y="2056228"/>
            <a:ext cx="3629286" cy="3266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von kategorischen Attributen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und maximale und minimale Ausprägungen von numerischen Attributen speicher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Intervalle für die numerischen Werte bilde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euzprodukt aus den Ausprägungen und den Intervallen bilde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(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) x (10,11,12,13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C710FFE-3AD8-3909-7743-64F4797FA49A}"/>
              </a:ext>
            </a:extLst>
          </p:cNvPr>
          <p:cNvSpPr txBox="1"/>
          <p:nvPr/>
        </p:nvSpPr>
        <p:spPr>
          <a:xfrm>
            <a:off x="5915958" y="4039875"/>
            <a:ext cx="41106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574089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neuer Datensatz wurde aus dem Input-Datensatz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29F7C38-053D-52EA-51B8-E97361C55F2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699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rainierte Entscheidungsbaum erhält den erzeugten Datensatz als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3CF3C9E-C0A6-D4AF-7FD8-1CBBE2AF2FB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0645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um das Attribut „</a:t>
            </a:r>
            <a:r>
              <a:rPr lang="de-DE" dirty="0" err="1"/>
              <a:t>Prediction</a:t>
            </a:r>
            <a:r>
              <a:rPr lang="de-DE" dirty="0"/>
              <a:t>“ ergänzt. Den Wert bestimmt der Entscheidungsbaum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43EC260-E8E3-D396-61A6-46D43A26935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845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analys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74356A-C324-1A6E-609A-5AC6C59C88F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191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 der Analyse werde mehrere Werte erhoben und Kennzahlen berech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rik-Berechn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1216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teil an Positiventscheidungen für jede Personengruppe aller kategorischen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z.B. Geschlecht/männlich: 53% True; Geschlecht/weiblich: 47% True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destanforderung für eine Positiventscheidung für jede Personengruppe aller kategorischen Attribute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.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 Geschlecht/männlich: 10 Verkäufe/Monat; Geschlecht/weiblich: 12 Verkäufe/Mon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7" y="3804916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nnzah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515936" y="4218916"/>
            <a:ext cx="2797715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Anteilsunterschie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er Anforderungsabstan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338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nteilsunterschied spiegelt die Stärke des </a:t>
            </a:r>
            <a:r>
              <a:rPr lang="de-DE" dirty="0" err="1"/>
              <a:t>Biases</a:t>
            </a:r>
            <a:r>
              <a:rPr lang="de-DE" dirty="0"/>
              <a:t> wied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teilsunterschied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7612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(x) = Anteil an Positiventscheidungen einer Ausprägung x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) = Höchster Positiventscheidungsanteil ein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Niedrigester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itiventscheidungsanteil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1" y="4626806"/>
            <a:ext cx="4758357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Werte zwischen 1 und 0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1 = Sehr ungleichverteilte Anteile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0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Gleichverteilte Anteil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14384"/>
                <a:ext cx="6467912" cy="13099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d>
                                        <m:dPr>
                                          <m:ctrlPr>
                                            <a:rPr kumimoji="0" lang="de-DE" sz="3200" b="0" i="1" u="none" strike="noStrike" kern="1200" cap="none" spc="0" normalizeH="0" baseline="0" noProof="0" smtClean="0">
                                              <a:ln>
                                                <a:noFill/>
                                              </a:ln>
                                              <a:solidFill>
                                                <a:prstClr val="black"/>
                                              </a:solidFill>
                                              <a:effectLst/>
                                              <a:uLnTx/>
                                              <a:uFillTx/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kumimoji="0" lang="de-DE" sz="3200" b="0" i="1" u="none" strike="noStrike" kern="1200" cap="none" spc="0" normalizeH="0" baseline="0" noProof="0" smtClean="0">
                                              <a:ln>
                                                <a:noFill/>
                                              </a:ln>
                                              <a:solidFill>
                                                <a:prstClr val="black"/>
                                              </a:solidFill>
                                              <a:effectLst/>
                                              <a:uLnTx/>
                                              <a:uFillTx/>
                                              <a:latin typeface="Cambria Math" panose="02040503050406030204" pitchFamily="18" charset="0"/>
                                            </a:rPr>
                                            <m:t>𝑥𝑖</m:t>
                                          </m:r>
                                        </m:e>
                                      </m:d>
                                    </m:e>
                                  </m:d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𝑥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 ∙100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14384"/>
                <a:ext cx="6467912" cy="130997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7985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sz="2400" dirty="0">
                <a:solidFill>
                  <a:prstClr val="black"/>
                </a:solidFill>
                <a:latin typeface="Arial"/>
              </a:rPr>
              <a:t>Anforderungsabstand stellt den Bias mit einem praktischen Wert dar 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dirty="0">
                <a:solidFill>
                  <a:prstClr val="black"/>
                </a:solidFill>
                <a:latin typeface="Arial"/>
              </a:rPr>
              <a:t>Anforderungsabstand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0656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= Höchste Mindestanforderung d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Niedrigest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ndestanforderung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2" y="4121922"/>
            <a:ext cx="4758357" cy="14870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Durchschnittlicher Unterschied der Mindestanforderungen zwischen den Personengruppen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Aber: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Berechnung der Mindestanforderung muss für jeden Datensatz definiert werden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14384"/>
                <a:ext cx="6467912" cy="12052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𝑛𝑖</m:t>
                                      </m:r>
                                    </m:e>
                                  </m:d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𝑛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14384"/>
                <a:ext cx="6467912" cy="120520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58688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Artefakt liefert ein Ergebnis am Ende des Prozess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1FF3256-8605-019B-39DB-101B0BC435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1456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1662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wurden 6 Datensätze zum Testen des Artefakts benutz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bsterstellte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ier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ktrum von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verzerrungslos bis sehr stark verzerr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Kein Bias, leichter Bias, mittelstarker Bias, sehr starker Bia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8" y="3572158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ML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515937" y="3986158"/>
            <a:ext cx="4467124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Zwei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mit Verzerrung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ohne Verzerrungen</a:t>
            </a:r>
          </a:p>
        </p:txBody>
      </p:sp>
    </p:spTree>
    <p:extLst>
      <p:ext uri="{BB962C8B-B14F-4D97-AF65-F5344CB8AC3E}">
        <p14:creationId xmlns:p14="http://schemas.microsoft.com/office/powerpoint/2010/main" val="10448364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selbsterstellten Datensätze haben 5 Attribute und 84 Einträg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e Datensätz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3DC631E-51C8-AD06-F4D2-A47082B44159}"/>
              </a:ext>
            </a:extLst>
          </p:cNvPr>
          <p:cNvSpPr txBox="1"/>
          <p:nvPr/>
        </p:nvSpPr>
        <p:spPr>
          <a:xfrm>
            <a:off x="509817" y="2056228"/>
            <a:ext cx="3629286" cy="13701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5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, 2 kategorisch, 2 numerisch, 1 Entscheidungsattribut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84 Dateneinträge pro Datensatz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und Intervalle:</a:t>
            </a:r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62918418-0CA8-C966-8372-795976D6C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7509680"/>
              </p:ext>
            </p:extLst>
          </p:nvPr>
        </p:nvGraphicFramePr>
        <p:xfrm>
          <a:off x="5303191" y="2613784"/>
          <a:ext cx="6736360" cy="163043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47272">
                  <a:extLst>
                    <a:ext uri="{9D8B030D-6E8A-4147-A177-3AD203B41FA5}">
                      <a16:colId xmlns:a16="http://schemas.microsoft.com/office/drawing/2014/main" val="960400381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081578762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571925560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1045282323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877055650"/>
                    </a:ext>
                  </a:extLst>
                </a:gridCol>
              </a:tblGrid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Ethni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Verkäuf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onate beschäftig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haltserhöhung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958952379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eiß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n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379139635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froamerikan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505214006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siat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25</a:t>
                      </a:r>
                      <a:endParaRPr lang="de-DE" sz="1100" b="0" i="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6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j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139815760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A3B3168C-FD1A-2D59-2E75-8060DE01F3F3}"/>
              </a:ext>
            </a:extLst>
          </p:cNvPr>
          <p:cNvSpPr txBox="1"/>
          <p:nvPr/>
        </p:nvSpPr>
        <p:spPr>
          <a:xfrm>
            <a:off x="1292580" y="3508909"/>
            <a:ext cx="4235766" cy="18010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Gehaltserhöhung = {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,j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}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Verkäufe = [9;25]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Monate beschäftigt = [3;36]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Geschlecht = {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}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Ethnie = {weiß, afroamerikanisch, asiatisch}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1136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feld 36">
            <a:extLst>
              <a:ext uri="{FF2B5EF4-FFF2-40B4-BE49-F238E27FC236}">
                <a16:creationId xmlns:a16="http://schemas.microsoft.com/office/drawing/2014/main" id="{268CF00C-CB9B-A595-3064-651EBD963296}"/>
              </a:ext>
            </a:extLst>
          </p:cNvPr>
          <p:cNvSpPr txBox="1"/>
          <p:nvPr/>
        </p:nvSpPr>
        <p:spPr>
          <a:xfrm>
            <a:off x="4552426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rgebnisse des Artefaktes kommen der Realität sehr nah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e Datensätze Ergebniss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93764E-C9ED-F6C4-1319-5F10A693FC44}"/>
              </a:ext>
            </a:extLst>
          </p:cNvPr>
          <p:cNvSpPr/>
          <p:nvPr/>
        </p:nvSpPr>
        <p:spPr>
          <a:xfrm>
            <a:off x="515938" y="1627464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241D9C9-CE82-1F7A-B9E1-0F460B12B64B}"/>
              </a:ext>
            </a:extLst>
          </p:cNvPr>
          <p:cNvSpPr/>
          <p:nvPr/>
        </p:nvSpPr>
        <p:spPr>
          <a:xfrm>
            <a:off x="6358854" y="1627464"/>
            <a:ext cx="5698683" cy="231547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043CF0A-FD10-38B9-5428-F6CED3BFA7C9}"/>
              </a:ext>
            </a:extLst>
          </p:cNvPr>
          <p:cNvSpPr/>
          <p:nvPr/>
        </p:nvSpPr>
        <p:spPr>
          <a:xfrm>
            <a:off x="515937" y="4017863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09A39E-E716-067E-43FB-FA774C91E4E1}"/>
              </a:ext>
            </a:extLst>
          </p:cNvPr>
          <p:cNvSpPr/>
          <p:nvPr/>
        </p:nvSpPr>
        <p:spPr>
          <a:xfrm>
            <a:off x="6358853" y="4017863"/>
            <a:ext cx="5698684" cy="23154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71B0AB9-262F-3207-E307-05C565E1463A}"/>
              </a:ext>
            </a:extLst>
          </p:cNvPr>
          <p:cNvSpPr txBox="1"/>
          <p:nvPr/>
        </p:nvSpPr>
        <p:spPr>
          <a:xfrm>
            <a:off x="588054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in Bia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925324A-A9CA-5CB2-21BC-C48F25D9BDB3}"/>
              </a:ext>
            </a:extLst>
          </p:cNvPr>
          <p:cNvSpPr txBox="1"/>
          <p:nvPr/>
        </p:nvSpPr>
        <p:spPr>
          <a:xfrm>
            <a:off x="588054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ttelstarker Bia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B492144-E454-7D56-696E-DEDD708A9D73}"/>
              </a:ext>
            </a:extLst>
          </p:cNvPr>
          <p:cNvSpPr txBox="1"/>
          <p:nvPr/>
        </p:nvSpPr>
        <p:spPr>
          <a:xfrm>
            <a:off x="6453357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hr starker Bia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CF275C5-2DCB-66C6-361F-D2FADC519628}"/>
              </a:ext>
            </a:extLst>
          </p:cNvPr>
          <p:cNvSpPr txBox="1"/>
          <p:nvPr/>
        </p:nvSpPr>
        <p:spPr>
          <a:xfrm>
            <a:off x="6453357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ichter Bias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6EA17D2-C19E-81AB-35F8-B693A9D5401D}"/>
              </a:ext>
            </a:extLst>
          </p:cNvPr>
          <p:cNvSpPr txBox="1"/>
          <p:nvPr/>
        </p:nvSpPr>
        <p:spPr>
          <a:xfrm>
            <a:off x="654341" y="2012924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ositiventscheidungsanteile gleichverteilt zwischen allen Gruppen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84E86CD-3A2A-0D49-C12C-E117DFE33599}"/>
              </a:ext>
            </a:extLst>
          </p:cNvPr>
          <p:cNvCxnSpPr>
            <a:cxnSpLocks/>
          </p:cNvCxnSpPr>
          <p:nvPr/>
        </p:nvCxnSpPr>
        <p:spPr>
          <a:xfrm flipH="1">
            <a:off x="588054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F14B8A25-25AC-692A-BC85-A443B16B59DC}"/>
              </a:ext>
            </a:extLst>
          </p:cNvPr>
          <p:cNvSpPr txBox="1"/>
          <p:nvPr/>
        </p:nvSpPr>
        <p:spPr>
          <a:xfrm>
            <a:off x="654341" y="2718852"/>
            <a:ext cx="5301842" cy="791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s gleichverteilt zwischen allen Gruppen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91A79D3-C28D-A874-8701-DD6B05454491}"/>
              </a:ext>
            </a:extLst>
          </p:cNvPr>
          <p:cNvCxnSpPr>
            <a:cxnSpLocks/>
          </p:cNvCxnSpPr>
          <p:nvPr/>
        </p:nvCxnSpPr>
        <p:spPr>
          <a:xfrm flipH="1">
            <a:off x="6464019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9AD26FA-1D07-73A0-93C0-DD0C0F072B86}"/>
              </a:ext>
            </a:extLst>
          </p:cNvPr>
          <p:cNvCxnSpPr>
            <a:cxnSpLocks/>
          </p:cNvCxnSpPr>
          <p:nvPr/>
        </p:nvCxnSpPr>
        <p:spPr>
          <a:xfrm flipH="1">
            <a:off x="6453357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1720836-E67B-2F0F-625C-FE83AB4B4B6B}"/>
              </a:ext>
            </a:extLst>
          </p:cNvPr>
          <p:cNvCxnSpPr>
            <a:cxnSpLocks/>
          </p:cNvCxnSpPr>
          <p:nvPr/>
        </p:nvCxnSpPr>
        <p:spPr>
          <a:xfrm flipH="1">
            <a:off x="611305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A22916D-91D2-2D1D-E740-06BE7FB34300}"/>
              </a:ext>
            </a:extLst>
          </p:cNvPr>
          <p:cNvSpPr txBox="1"/>
          <p:nvPr/>
        </p:nvSpPr>
        <p:spPr>
          <a:xfrm>
            <a:off x="6464019" y="2020778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 gleichverteilt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6%; w = 44%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9EB2ADD2-3FB6-FC85-DE74-594E4470F33C}"/>
              </a:ext>
            </a:extLst>
          </p:cNvPr>
          <p:cNvSpPr txBox="1"/>
          <p:nvPr/>
        </p:nvSpPr>
        <p:spPr>
          <a:xfrm>
            <a:off x="10417351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9A92F78B-435C-E24B-D26C-9C7B71383180}"/>
              </a:ext>
            </a:extLst>
          </p:cNvPr>
          <p:cNvSpPr txBox="1"/>
          <p:nvPr/>
        </p:nvSpPr>
        <p:spPr>
          <a:xfrm>
            <a:off x="10417351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A41A6E86-9D2C-40A0-B625-9AB18CE77063}"/>
              </a:ext>
            </a:extLst>
          </p:cNvPr>
          <p:cNvSpPr txBox="1"/>
          <p:nvPr/>
        </p:nvSpPr>
        <p:spPr>
          <a:xfrm>
            <a:off x="4550895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AB6EE53-B282-C804-41DD-94ECFA340D8F}"/>
              </a:ext>
            </a:extLst>
          </p:cNvPr>
          <p:cNvSpPr txBox="1"/>
          <p:nvPr/>
        </p:nvSpPr>
        <p:spPr>
          <a:xfrm>
            <a:off x="4552425" y="5992164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C18D0ED-01AE-0A72-CE01-067FC9925838}"/>
              </a:ext>
            </a:extLst>
          </p:cNvPr>
          <p:cNvSpPr txBox="1"/>
          <p:nvPr/>
        </p:nvSpPr>
        <p:spPr>
          <a:xfrm>
            <a:off x="4550894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4F892EA3-8D24-FF3B-92EB-85CF40E06592}"/>
              </a:ext>
            </a:extLst>
          </p:cNvPr>
          <p:cNvSpPr txBox="1"/>
          <p:nvPr/>
        </p:nvSpPr>
        <p:spPr>
          <a:xfrm>
            <a:off x="10417351" y="5990028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1C74088-BCA4-20A1-080A-06E58CB09AE2}"/>
              </a:ext>
            </a:extLst>
          </p:cNvPr>
          <p:cNvSpPr txBox="1"/>
          <p:nvPr/>
        </p:nvSpPr>
        <p:spPr>
          <a:xfrm>
            <a:off x="10393668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7AA1AB8-D55E-8B77-C179-217F99134D67}"/>
              </a:ext>
            </a:extLst>
          </p:cNvPr>
          <p:cNvSpPr txBox="1"/>
          <p:nvPr/>
        </p:nvSpPr>
        <p:spPr>
          <a:xfrm>
            <a:off x="654341" y="4414603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7%; w = 43%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DBB7C4CD-F157-FCEA-1264-8A695A0D0EAB}"/>
              </a:ext>
            </a:extLst>
          </p:cNvPr>
          <p:cNvSpPr txBox="1"/>
          <p:nvPr/>
        </p:nvSpPr>
        <p:spPr>
          <a:xfrm>
            <a:off x="6464019" y="4406689"/>
            <a:ext cx="5591788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6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1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2,7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10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; w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1331FEBC-A1B5-36BA-9B71-EE2E62A8EFCE}"/>
              </a:ext>
            </a:extLst>
          </p:cNvPr>
          <p:cNvSpPr txBox="1"/>
          <p:nvPr/>
        </p:nvSpPr>
        <p:spPr>
          <a:xfrm>
            <a:off x="6464019" y="2718853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 gleichverteil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3%; w = 47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21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03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6C0CFE7-74A1-192C-4A53-F0756FA22B50}"/>
              </a:ext>
            </a:extLst>
          </p:cNvPr>
          <p:cNvSpPr txBox="1"/>
          <p:nvPr/>
        </p:nvSpPr>
        <p:spPr>
          <a:xfrm>
            <a:off x="654341" y="5105384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4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6%; w = 44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34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1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7AEA77CA-4BE7-51E7-7514-87218FB89A5F}"/>
              </a:ext>
            </a:extLst>
          </p:cNvPr>
          <p:cNvSpPr txBox="1"/>
          <p:nvPr/>
        </p:nvSpPr>
        <p:spPr>
          <a:xfrm>
            <a:off x="6464019" y="5124735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59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14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7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100%; w = 0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7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8347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wurden 6 Datensätze zum Testen des Artefakts benutz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Datensätze</a:t>
            </a:r>
          </a:p>
        </p:txBody>
      </p:sp>
    </p:spTree>
    <p:extLst>
      <p:ext uri="{BB962C8B-B14F-4D97-AF65-F5344CB8AC3E}">
        <p14:creationId xmlns:p14="http://schemas.microsoft.com/office/powerpoint/2010/main" val="398872228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2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. Februar 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12</Words>
  <Application>Microsoft Office PowerPoint</Application>
  <PresentationFormat>Breitbild</PresentationFormat>
  <Paragraphs>439</Paragraphs>
  <Slides>3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44" baseType="lpstr">
      <vt:lpstr>Arial</vt:lpstr>
      <vt:lpstr>Calibri</vt:lpstr>
      <vt:lpstr>Cambria Math</vt:lpstr>
      <vt:lpstr>Symbol</vt:lpstr>
      <vt:lpstr>FAU - Rechts- und Wirtschaftswissenschaftliche Fakultät</vt:lpstr>
      <vt:lpstr>think-cell Folie</vt:lpstr>
      <vt:lpstr>Abschlusspräsentation Gruppe 4 Thema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haben für unsere Forschungsfrage ein Artefakt entwickelt</vt:lpstr>
      <vt:lpstr>Als Input werden zwei Objekte übergeben, ein Datensatz und ein Kontex-Objekt</vt:lpstr>
      <vt:lpstr>Nicht jeder Datensatz ist als Input für das Artefakt geeignet</vt:lpstr>
      <vt:lpstr>Es müssen Metainformationen über den Datensatz bereitgestellt werden</vt:lpstr>
      <vt:lpstr>Der Input-Datensatz wird in einen Test- und Trainingsdatensatz geteilt</vt:lpstr>
      <vt:lpstr>Mit dem Test- und Trainingsdatensatz wird ein Entscheidungsbaum trainiert</vt:lpstr>
      <vt:lpstr>Das Modell des Machine Learning Algorithmus wurde trainiert</vt:lpstr>
      <vt:lpstr>Der Tabellen-Builder erhält beide Input-Objekte als eigenen Input</vt:lpstr>
      <vt:lpstr>Aus dem Input-Datensatz wird ein neuer Datensatz mittels des Kreuzproduktes erzeugt</vt:lpstr>
      <vt:lpstr>Ein neuer Datensatz wurde aus dem Input-Datensatz erzeugt</vt:lpstr>
      <vt:lpstr>Der trainierte Entscheidungsbaum erhält den erzeugten Datensatz als Input</vt:lpstr>
      <vt:lpstr>Der erzeugte Datensatz wird um das Attribut „Prediction“ ergänzt. Den Wert bestimmt der Entscheidungsbaum</vt:lpstr>
      <vt:lpstr>Der erzeugte Datensatz wird analysiert</vt:lpstr>
      <vt:lpstr>Bei der Analyse werde mehrere Werte erhoben und Kennzahlen berechnet</vt:lpstr>
      <vt:lpstr>Der Anteilsunterschied spiegelt die Stärke des Biases wieder</vt:lpstr>
      <vt:lpstr>Der Anforderungsabstand stellt den Bias mit einem praktischen Wert dar </vt:lpstr>
      <vt:lpstr>Das Artefakt liefert ein Ergebnis am Ende des Prozesses</vt:lpstr>
      <vt:lpstr>5. Experimente</vt:lpstr>
      <vt:lpstr>Es wurden 6 Datensätze zum Testen des Artefakts benutzt</vt:lpstr>
      <vt:lpstr>Die selbsterstellten Datensätze haben 5 Attribute und 84 Einträge</vt:lpstr>
      <vt:lpstr>Die Ergebnisse des Artefaktes kommen der Realität sehr nahe</vt:lpstr>
      <vt:lpstr>Es wurden 6 Datensätze zum Testen des Artefakts benutz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3-02-02T23:33:21Z</dcterms:modified>
</cp:coreProperties>
</file>